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6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145B273-53DA-23B1-AC65-5E78CB6565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H" dirty="0"/>
              <a:t>01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4C12621-45C2-0EC1-1C84-596B1C64FD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PH" dirty="0"/>
              <a:t>Qualitative Slid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8010735-7D57-F8C2-0C9E-DC2204758D1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847513" y="6635750"/>
            <a:ext cx="344487" cy="206375"/>
          </a:xfrm>
          <a:prstGeom prst="rect">
            <a:avLst/>
          </a:prstGeom>
        </p:spPr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9094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0</TotalTime>
  <Words>4</Words>
  <Application>Microsoft Office PowerPoint</Application>
  <PresentationFormat>Widescreen</PresentationFormat>
  <Paragraphs>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01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453</cp:revision>
  <dcterms:created xsi:type="dcterms:W3CDTF">2021-03-31T02:49:57Z</dcterms:created>
  <dcterms:modified xsi:type="dcterms:W3CDTF">2025-10-16T11:04:59Z</dcterms:modified>
  <cp:category/>
</cp:coreProperties>
</file>